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7" r:id="rId2"/>
    <p:sldId id="268" r:id="rId3"/>
    <p:sldId id="269" r:id="rId4"/>
    <p:sldId id="259" r:id="rId5"/>
    <p:sldId id="270" r:id="rId6"/>
    <p:sldId id="260" r:id="rId7"/>
    <p:sldId id="261" r:id="rId8"/>
    <p:sldId id="262" r:id="rId9"/>
    <p:sldId id="271" r:id="rId10"/>
    <p:sldId id="263" r:id="rId11"/>
    <p:sldId id="267" r:id="rId12"/>
  </p:sldIdLst>
  <p:sldSz cx="9144000" cy="6858000" type="screen4x3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3" autoAdjust="0"/>
    <p:restoredTop sz="94660"/>
  </p:normalViewPr>
  <p:slideViewPr>
    <p:cSldViewPr snapToGrid="0">
      <p:cViewPr varScale="1">
        <p:scale>
          <a:sx n="86" d="100"/>
          <a:sy n="86" d="100"/>
        </p:scale>
        <p:origin x="115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4735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8"/>
            <a:ext cx="853949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48793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8" y="1494768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3627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1593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1614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1F33D-780E-4AC9-A727-8758A5066A5A}" type="datetimeFigureOut">
              <a:rPr lang="en-US" smtClean="0"/>
              <a:t>19-Mar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3A363-AD90-44FD-B2D2-F3DBE745F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0263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1F33D-780E-4AC9-A727-8758A5066A5A}" type="datetimeFigureOut">
              <a:rPr lang="en-US" smtClean="0"/>
              <a:t>19-Mar-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3A363-AD90-44FD-B2D2-F3DBE745F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8298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117F4DF-C380-44D6-BF54-2A26A056BCB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599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572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001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1572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001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D5EA1-7C03-4369-9E04-DDE825917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A54D4-8702-4968-A1EE-0813B7F22C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s Project Presents </a:t>
            </a:r>
          </a:p>
          <a:p>
            <a:pPr marL="0" indent="0">
              <a:buNone/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Fil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nagement Syste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has 3 Phases :</a:t>
            </a:r>
          </a:p>
          <a:p>
            <a:pPr marL="0" indent="0">
              <a:buNone/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Console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pplication</a:t>
            </a:r>
          </a:p>
          <a:p>
            <a:pPr marL="0" indent="0">
              <a:buNone/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WPF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pplication</a:t>
            </a:r>
          </a:p>
          <a:p>
            <a:pPr marL="0" indent="0">
              <a:buNone/>
            </a:pP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MVC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Contains 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unctionalities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lm Details</a:t>
            </a:r>
          </a:p>
          <a:p>
            <a:pPr marL="0" indent="0">
              <a:buNone/>
            </a:pPr>
            <a:r>
              <a:rPr lang="en-IN" b="1" dirty="0"/>
              <a:t>	</a:t>
            </a:r>
            <a:r>
              <a:rPr lang="en-IN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eate Film </a:t>
            </a:r>
          </a:p>
          <a:p>
            <a:pPr marL="0" indent="0">
              <a:buNone/>
            </a:pPr>
            <a:r>
              <a:rPr lang="en-IN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Search Film </a:t>
            </a:r>
          </a:p>
          <a:p>
            <a:pPr marL="0" indent="0">
              <a:buNone/>
            </a:pP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Modify</a:t>
            </a:r>
            <a:r>
              <a:rPr lang="en-IN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ilm </a:t>
            </a:r>
          </a:p>
          <a:p>
            <a:pPr marL="0" indent="0">
              <a:buNone/>
            </a:pP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Remove</a:t>
            </a:r>
            <a:r>
              <a:rPr lang="en-IN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ilm </a:t>
            </a:r>
          </a:p>
          <a:p>
            <a:pPr marL="0" indent="0">
              <a:buNone/>
            </a:pPr>
            <a:r>
              <a:rPr lang="en-IN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Film Summary (View) </a:t>
            </a:r>
            <a:endParaRPr lang="en-US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nguage Details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tegory Details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or Details</a:t>
            </a:r>
          </a:p>
          <a:p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9685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Enhanc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E8D0C5-3CB7-40D1-A1C8-294A831A90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re Dynamic With </a:t>
            </a:r>
            <a:r>
              <a:rPr lang="en-US" b="1" dirty="0"/>
              <a:t>Bootstrap</a:t>
            </a:r>
            <a:r>
              <a:rPr lang="en-US" dirty="0"/>
              <a:t> features.</a:t>
            </a:r>
          </a:p>
          <a:p>
            <a:r>
              <a:rPr lang="en-US" b="1" dirty="0"/>
              <a:t>Testing Methods.</a:t>
            </a:r>
          </a:p>
          <a:p>
            <a:r>
              <a:rPr lang="en-US" dirty="0"/>
              <a:t>More Improvement of UI</a:t>
            </a:r>
          </a:p>
          <a:p>
            <a:r>
              <a:rPr lang="en-US" dirty="0"/>
              <a:t>Modify Project with better approach with more graphics</a:t>
            </a:r>
          </a:p>
        </p:txBody>
      </p:sp>
    </p:spTree>
    <p:extLst>
      <p:ext uri="{BB962C8B-B14F-4D97-AF65-F5344CB8AC3E}">
        <p14:creationId xmlns:p14="http://schemas.microsoft.com/office/powerpoint/2010/main" val="28817217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0" y="3352800"/>
            <a:ext cx="8532019" cy="855026"/>
          </a:xfrm>
        </p:spPr>
        <p:txBody>
          <a:bodyPr/>
          <a:lstStyle/>
          <a:p>
            <a:pPr algn="ctr"/>
            <a:r>
              <a:rPr lang="en-US" dirty="0"/>
              <a:t>Thanks</a:t>
            </a:r>
          </a:p>
        </p:txBody>
      </p:sp>
    </p:spTree>
    <p:extLst>
      <p:ext uri="{BB962C8B-B14F-4D97-AF65-F5344CB8AC3E}">
        <p14:creationId xmlns:p14="http://schemas.microsoft.com/office/powerpoint/2010/main" val="1085505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E644C-9C09-42BB-9C3B-31EF0EC5D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Diagram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EED9C21-4DB4-43AE-B6B6-9F88F9F55A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91" y="1268413"/>
            <a:ext cx="7852588" cy="5176200"/>
          </a:xfrm>
        </p:spPr>
      </p:pic>
    </p:spTree>
    <p:extLst>
      <p:ext uri="{BB962C8B-B14F-4D97-AF65-F5344CB8AC3E}">
        <p14:creationId xmlns:p14="http://schemas.microsoft.com/office/powerpoint/2010/main" val="4740174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EAD526-2880-4764-A972-6B61E0D3F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ass Diagram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5FAFEAD-E611-493A-848B-0AD9685BF9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660" y="1268413"/>
            <a:ext cx="7794594" cy="5176200"/>
          </a:xfrm>
        </p:spPr>
      </p:pic>
    </p:spTree>
    <p:extLst>
      <p:ext uri="{BB962C8B-B14F-4D97-AF65-F5344CB8AC3E}">
        <p14:creationId xmlns:p14="http://schemas.microsoft.com/office/powerpoint/2010/main" val="531977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E92EC8-8F55-48D2-97D8-7D800B895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rchitecture of Console And WPF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2287" y="1294171"/>
            <a:ext cx="4739426" cy="4810415"/>
          </a:xfrm>
        </p:spPr>
      </p:pic>
    </p:spTree>
    <p:extLst>
      <p:ext uri="{BB962C8B-B14F-4D97-AF65-F5344CB8AC3E}">
        <p14:creationId xmlns:p14="http://schemas.microsoft.com/office/powerpoint/2010/main" val="33681898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e of MVC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88" y="1629412"/>
            <a:ext cx="8531225" cy="4331013"/>
          </a:xfrm>
        </p:spPr>
      </p:pic>
    </p:spTree>
    <p:extLst>
      <p:ext uri="{BB962C8B-B14F-4D97-AF65-F5344CB8AC3E}">
        <p14:creationId xmlns:p14="http://schemas.microsoft.com/office/powerpoint/2010/main" val="12676561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1 - Screenshot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88" y="1546649"/>
            <a:ext cx="8531225" cy="4496539"/>
          </a:xfrm>
        </p:spPr>
      </p:pic>
    </p:spTree>
    <p:extLst>
      <p:ext uri="{BB962C8B-B14F-4D97-AF65-F5344CB8AC3E}">
        <p14:creationId xmlns:p14="http://schemas.microsoft.com/office/powerpoint/2010/main" val="23322925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2 - Screenshots</a:t>
            </a: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88" y="1679804"/>
            <a:ext cx="8531225" cy="4230229"/>
          </a:xfrm>
        </p:spPr>
      </p:pic>
    </p:spTree>
    <p:extLst>
      <p:ext uri="{BB962C8B-B14F-4D97-AF65-F5344CB8AC3E}">
        <p14:creationId xmlns:p14="http://schemas.microsoft.com/office/powerpoint/2010/main" val="18985838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3 - Screenshots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88" y="1987294"/>
            <a:ext cx="8531225" cy="3615250"/>
          </a:xfrm>
        </p:spPr>
      </p:pic>
    </p:spTree>
    <p:extLst>
      <p:ext uri="{BB962C8B-B14F-4D97-AF65-F5344CB8AC3E}">
        <p14:creationId xmlns:p14="http://schemas.microsoft.com/office/powerpoint/2010/main" val="24237315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3491" y="811370"/>
            <a:ext cx="7225049" cy="5576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24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6C81F9DB-9DB6-478C-B029-122D380A8C9B}" vid="{842A89BB-942D-4468-A868-23016060482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sson XX Template</Template>
  <TotalTime>122</TotalTime>
  <Words>101</Words>
  <Application>Microsoft Office PowerPoint</Application>
  <PresentationFormat>On-screen Show (4:3)</PresentationFormat>
  <Paragraphs>3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Times New Roman</vt:lpstr>
      <vt:lpstr>Verdana</vt:lpstr>
      <vt:lpstr>Wingdings</vt:lpstr>
      <vt:lpstr>Capgemini 2017_Cover slides</vt:lpstr>
      <vt:lpstr>think-cell Slide</vt:lpstr>
      <vt:lpstr>Introduction</vt:lpstr>
      <vt:lpstr>Use Case Diagram</vt:lpstr>
      <vt:lpstr>Class Diagram</vt:lpstr>
      <vt:lpstr>Architecture of Console And WPF</vt:lpstr>
      <vt:lpstr>Architecture of MVC</vt:lpstr>
      <vt:lpstr>Phase 1 - Screenshots</vt:lpstr>
      <vt:lpstr>Phase 2 - Screenshots</vt:lpstr>
      <vt:lpstr>Phase 3 - Screenshots</vt:lpstr>
      <vt:lpstr>PowerPoint Presentation</vt:lpstr>
      <vt:lpstr>Future Enhancement</vt:lpstr>
      <vt:lpstr>Than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Name</dc:title>
  <dc:creator>Patil, Shital</dc:creator>
  <cp:lastModifiedBy>Praveen Kumar</cp:lastModifiedBy>
  <cp:revision>46</cp:revision>
  <dcterms:created xsi:type="dcterms:W3CDTF">2019-08-07T09:26:51Z</dcterms:created>
  <dcterms:modified xsi:type="dcterms:W3CDTF">2022-03-19T16:12:05Z</dcterms:modified>
</cp:coreProperties>
</file>